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307"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D0C12C-97B9-4787-A55D-FCA6AD85EC0A}" v="51" dt="2023-03-09T00:42:52.8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C0D0C12C-97B9-4787-A55D-FCA6AD85EC0A}"/>
    <pc:docChg chg="addSld delSld modSld">
      <pc:chgData name="Roberto Gallardo" userId="49a044883f185952" providerId="LiveId" clId="{C0D0C12C-97B9-4787-A55D-FCA6AD85EC0A}" dt="2023-03-09T00:43:14.896" v="261" actId="1036"/>
      <pc:docMkLst>
        <pc:docMk/>
      </pc:docMkLst>
      <pc:sldChg chg="del">
        <pc:chgData name="Roberto Gallardo" userId="49a044883f185952" providerId="LiveId" clId="{C0D0C12C-97B9-4787-A55D-FCA6AD85EC0A}" dt="2023-02-25T19:22:35.378" v="53" actId="47"/>
        <pc:sldMkLst>
          <pc:docMk/>
          <pc:sldMk cId="3702837515" sldId="258"/>
        </pc:sldMkLst>
      </pc:sldChg>
      <pc:sldChg chg="addSp modSp mod">
        <pc:chgData name="Roberto Gallardo" userId="49a044883f185952" providerId="LiveId" clId="{C0D0C12C-97B9-4787-A55D-FCA6AD85EC0A}" dt="2023-03-09T00:37:53.726" v="60" actId="1076"/>
        <pc:sldMkLst>
          <pc:docMk/>
          <pc:sldMk cId="1418533539" sldId="271"/>
        </pc:sldMkLst>
        <pc:picChg chg="add mod">
          <ac:chgData name="Roberto Gallardo" userId="49a044883f185952" providerId="LiveId" clId="{C0D0C12C-97B9-4787-A55D-FCA6AD85EC0A}" dt="2023-03-09T00:37:53.726" v="60" actId="1076"/>
          <ac:picMkLst>
            <pc:docMk/>
            <pc:sldMk cId="1418533539" sldId="271"/>
            <ac:picMk id="6" creationId="{C07EDEDB-F2F4-25EC-55FC-4099111A2671}"/>
          </ac:picMkLst>
        </pc:picChg>
      </pc:sldChg>
      <pc:sldChg chg="addSp modSp mod">
        <pc:chgData name="Roberto Gallardo" userId="49a044883f185952" providerId="LiveId" clId="{C0D0C12C-97B9-4787-A55D-FCA6AD85EC0A}" dt="2023-03-09T00:39:39.552" v="116" actId="1076"/>
        <pc:sldMkLst>
          <pc:docMk/>
          <pc:sldMk cId="2124848710" sldId="281"/>
        </pc:sldMkLst>
        <pc:picChg chg="add mod">
          <ac:chgData name="Roberto Gallardo" userId="49a044883f185952" providerId="LiveId" clId="{C0D0C12C-97B9-4787-A55D-FCA6AD85EC0A}" dt="2023-03-09T00:39:39.552" v="116" actId="1076"/>
          <ac:picMkLst>
            <pc:docMk/>
            <pc:sldMk cId="2124848710" sldId="281"/>
            <ac:picMk id="6" creationId="{C5CA2E83-36B4-2A32-061A-6036F7B4387F}"/>
          </ac:picMkLst>
        </pc:picChg>
      </pc:sldChg>
      <pc:sldChg chg="addSp modSp mod">
        <pc:chgData name="Roberto Gallardo" userId="49a044883f185952" providerId="LiveId" clId="{C0D0C12C-97B9-4787-A55D-FCA6AD85EC0A}" dt="2023-03-09T00:39:57.717" v="127" actId="1038"/>
        <pc:sldMkLst>
          <pc:docMk/>
          <pc:sldMk cId="2028175529" sldId="282"/>
        </pc:sldMkLst>
        <pc:picChg chg="add mod">
          <ac:chgData name="Roberto Gallardo" userId="49a044883f185952" providerId="LiveId" clId="{C0D0C12C-97B9-4787-A55D-FCA6AD85EC0A}" dt="2023-03-09T00:39:57.717" v="127" actId="1038"/>
          <ac:picMkLst>
            <pc:docMk/>
            <pc:sldMk cId="2028175529" sldId="282"/>
            <ac:picMk id="7" creationId="{9598C577-11CD-0D35-C58B-D99157666ABE}"/>
          </ac:picMkLst>
        </pc:picChg>
      </pc:sldChg>
      <pc:sldChg chg="addSp modSp mod">
        <pc:chgData name="Roberto Gallardo" userId="49a044883f185952" providerId="LiveId" clId="{C0D0C12C-97B9-4787-A55D-FCA6AD85EC0A}" dt="2023-03-09T00:40:14.064" v="137" actId="1076"/>
        <pc:sldMkLst>
          <pc:docMk/>
          <pc:sldMk cId="1326517747" sldId="283"/>
        </pc:sldMkLst>
        <pc:picChg chg="add mod">
          <ac:chgData name="Roberto Gallardo" userId="49a044883f185952" providerId="LiveId" clId="{C0D0C12C-97B9-4787-A55D-FCA6AD85EC0A}" dt="2023-03-09T00:40:14.064" v="137" actId="1076"/>
          <ac:picMkLst>
            <pc:docMk/>
            <pc:sldMk cId="1326517747" sldId="283"/>
            <ac:picMk id="7" creationId="{FE98EFF0-4BC1-525A-B2B7-6ED544808113}"/>
          </ac:picMkLst>
        </pc:picChg>
      </pc:sldChg>
      <pc:sldChg chg="addSp modSp mod">
        <pc:chgData name="Roberto Gallardo" userId="49a044883f185952" providerId="LiveId" clId="{C0D0C12C-97B9-4787-A55D-FCA6AD85EC0A}" dt="2023-03-09T00:40:30.203" v="148" actId="1076"/>
        <pc:sldMkLst>
          <pc:docMk/>
          <pc:sldMk cId="783739251" sldId="284"/>
        </pc:sldMkLst>
        <pc:picChg chg="add mod">
          <ac:chgData name="Roberto Gallardo" userId="49a044883f185952" providerId="LiveId" clId="{C0D0C12C-97B9-4787-A55D-FCA6AD85EC0A}" dt="2023-03-09T00:40:30.203" v="148" actId="1076"/>
          <ac:picMkLst>
            <pc:docMk/>
            <pc:sldMk cId="783739251" sldId="284"/>
            <ac:picMk id="7" creationId="{0F6861B2-6A87-60C7-68F0-F13686CEB2B4}"/>
          </ac:picMkLst>
        </pc:picChg>
      </pc:sldChg>
      <pc:sldChg chg="addSp modSp mod">
        <pc:chgData name="Roberto Gallardo" userId="49a044883f185952" providerId="LiveId" clId="{C0D0C12C-97B9-4787-A55D-FCA6AD85EC0A}" dt="2023-03-09T00:40:44.249" v="156" actId="1076"/>
        <pc:sldMkLst>
          <pc:docMk/>
          <pc:sldMk cId="1676122233" sldId="285"/>
        </pc:sldMkLst>
        <pc:picChg chg="add mod">
          <ac:chgData name="Roberto Gallardo" userId="49a044883f185952" providerId="LiveId" clId="{C0D0C12C-97B9-4787-A55D-FCA6AD85EC0A}" dt="2023-03-09T00:40:44.249" v="156" actId="1076"/>
          <ac:picMkLst>
            <pc:docMk/>
            <pc:sldMk cId="1676122233" sldId="285"/>
            <ac:picMk id="7" creationId="{39CC6636-E741-DC69-74BA-F4C4C755CE6A}"/>
          </ac:picMkLst>
        </pc:picChg>
      </pc:sldChg>
      <pc:sldChg chg="addSp modSp mod">
        <pc:chgData name="Roberto Gallardo" userId="49a044883f185952" providerId="LiveId" clId="{C0D0C12C-97B9-4787-A55D-FCA6AD85EC0A}" dt="2023-03-09T00:40:59.613" v="166" actId="1076"/>
        <pc:sldMkLst>
          <pc:docMk/>
          <pc:sldMk cId="3100398757" sldId="286"/>
        </pc:sldMkLst>
        <pc:picChg chg="add mod">
          <ac:chgData name="Roberto Gallardo" userId="49a044883f185952" providerId="LiveId" clId="{C0D0C12C-97B9-4787-A55D-FCA6AD85EC0A}" dt="2023-03-09T00:40:59.613" v="166" actId="1076"/>
          <ac:picMkLst>
            <pc:docMk/>
            <pc:sldMk cId="3100398757" sldId="286"/>
            <ac:picMk id="7" creationId="{F3110E0A-C233-8C7B-5E9D-AB16631FBB25}"/>
          </ac:picMkLst>
        </pc:picChg>
      </pc:sldChg>
      <pc:sldChg chg="addSp modSp mod">
        <pc:chgData name="Roberto Gallardo" userId="49a044883f185952" providerId="LiveId" clId="{C0D0C12C-97B9-4787-A55D-FCA6AD85EC0A}" dt="2023-03-09T00:41:21.093" v="181" actId="1076"/>
        <pc:sldMkLst>
          <pc:docMk/>
          <pc:sldMk cId="1546475425" sldId="287"/>
        </pc:sldMkLst>
        <pc:picChg chg="add mod">
          <ac:chgData name="Roberto Gallardo" userId="49a044883f185952" providerId="LiveId" clId="{C0D0C12C-97B9-4787-A55D-FCA6AD85EC0A}" dt="2023-03-09T00:41:21.093" v="181" actId="1076"/>
          <ac:picMkLst>
            <pc:docMk/>
            <pc:sldMk cId="1546475425" sldId="287"/>
            <ac:picMk id="7" creationId="{3E9598DF-7F2B-9F1F-0E9D-CA38DEC97425}"/>
          </ac:picMkLst>
        </pc:picChg>
      </pc:sldChg>
      <pc:sldChg chg="addSp modSp mod">
        <pc:chgData name="Roberto Gallardo" userId="49a044883f185952" providerId="LiveId" clId="{C0D0C12C-97B9-4787-A55D-FCA6AD85EC0A}" dt="2023-03-09T00:41:49.636" v="200" actId="1076"/>
        <pc:sldMkLst>
          <pc:docMk/>
          <pc:sldMk cId="1380517306" sldId="288"/>
        </pc:sldMkLst>
        <pc:picChg chg="add mod">
          <ac:chgData name="Roberto Gallardo" userId="49a044883f185952" providerId="LiveId" clId="{C0D0C12C-97B9-4787-A55D-FCA6AD85EC0A}" dt="2023-03-09T00:41:49.636" v="200" actId="1076"/>
          <ac:picMkLst>
            <pc:docMk/>
            <pc:sldMk cId="1380517306" sldId="288"/>
            <ac:picMk id="7" creationId="{2B9CAACF-E49E-A3B1-63E1-CCA6E7B5C5DF}"/>
          </ac:picMkLst>
        </pc:picChg>
      </pc:sldChg>
      <pc:sldChg chg="addSp modSp mod">
        <pc:chgData name="Roberto Gallardo" userId="49a044883f185952" providerId="LiveId" clId="{C0D0C12C-97B9-4787-A55D-FCA6AD85EC0A}" dt="2023-03-09T00:42:05.237" v="210" actId="1076"/>
        <pc:sldMkLst>
          <pc:docMk/>
          <pc:sldMk cId="1388671151" sldId="289"/>
        </pc:sldMkLst>
        <pc:picChg chg="add mod">
          <ac:chgData name="Roberto Gallardo" userId="49a044883f185952" providerId="LiveId" clId="{C0D0C12C-97B9-4787-A55D-FCA6AD85EC0A}" dt="2023-03-09T00:42:05.237" v="210" actId="1076"/>
          <ac:picMkLst>
            <pc:docMk/>
            <pc:sldMk cId="1388671151" sldId="289"/>
            <ac:picMk id="7" creationId="{5FB5EA63-0122-ADC2-B454-797CC409E499}"/>
          </ac:picMkLst>
        </pc:picChg>
      </pc:sldChg>
      <pc:sldChg chg="addSp modSp mod">
        <pc:chgData name="Roberto Gallardo" userId="49a044883f185952" providerId="LiveId" clId="{C0D0C12C-97B9-4787-A55D-FCA6AD85EC0A}" dt="2023-03-09T00:42:45.429" v="236" actId="1076"/>
        <pc:sldMkLst>
          <pc:docMk/>
          <pc:sldMk cId="2355376039" sldId="290"/>
        </pc:sldMkLst>
        <pc:picChg chg="add mod">
          <ac:chgData name="Roberto Gallardo" userId="49a044883f185952" providerId="LiveId" clId="{C0D0C12C-97B9-4787-A55D-FCA6AD85EC0A}" dt="2023-03-09T00:42:45.429" v="236" actId="1076"/>
          <ac:picMkLst>
            <pc:docMk/>
            <pc:sldMk cId="2355376039" sldId="290"/>
            <ac:picMk id="8" creationId="{F5B6A8B9-C296-096E-B180-4FA9E392490D}"/>
          </ac:picMkLst>
        </pc:picChg>
      </pc:sldChg>
      <pc:sldChg chg="addSp modSp mod">
        <pc:chgData name="Roberto Gallardo" userId="49a044883f185952" providerId="LiveId" clId="{C0D0C12C-97B9-4787-A55D-FCA6AD85EC0A}" dt="2023-03-09T00:43:14.896" v="261" actId="1036"/>
        <pc:sldMkLst>
          <pc:docMk/>
          <pc:sldMk cId="3757257295" sldId="291"/>
        </pc:sldMkLst>
        <pc:picChg chg="add mod">
          <ac:chgData name="Roberto Gallardo" userId="49a044883f185952" providerId="LiveId" clId="{C0D0C12C-97B9-4787-A55D-FCA6AD85EC0A}" dt="2023-03-09T00:43:14.896" v="261" actId="1036"/>
          <ac:picMkLst>
            <pc:docMk/>
            <pc:sldMk cId="3757257295" sldId="291"/>
            <ac:picMk id="8" creationId="{95D6577F-1DE9-A760-BA12-193286A91531}"/>
          </ac:picMkLst>
        </pc:picChg>
      </pc:sldChg>
      <pc:sldChg chg="addSp modSp mod">
        <pc:chgData name="Roberto Gallardo" userId="49a044883f185952" providerId="LiveId" clId="{C0D0C12C-97B9-4787-A55D-FCA6AD85EC0A}" dt="2023-03-09T00:41:32.501" v="189" actId="1076"/>
        <pc:sldMkLst>
          <pc:docMk/>
          <pc:sldMk cId="1259856727" sldId="292"/>
        </pc:sldMkLst>
        <pc:picChg chg="add mod">
          <ac:chgData name="Roberto Gallardo" userId="49a044883f185952" providerId="LiveId" clId="{C0D0C12C-97B9-4787-A55D-FCA6AD85EC0A}" dt="2023-03-09T00:41:32.501" v="189" actId="1076"/>
          <ac:picMkLst>
            <pc:docMk/>
            <pc:sldMk cId="1259856727" sldId="292"/>
            <ac:picMk id="7" creationId="{F5DB260E-9C0A-5E1A-812A-DA3C2D154EE9}"/>
          </ac:picMkLst>
        </pc:picChg>
      </pc:sldChg>
      <pc:sldChg chg="addSp modSp mod">
        <pc:chgData name="Roberto Gallardo" userId="49a044883f185952" providerId="LiveId" clId="{C0D0C12C-97B9-4787-A55D-FCA6AD85EC0A}" dt="2023-03-09T00:39:24.229" v="106" actId="14100"/>
        <pc:sldMkLst>
          <pc:docMk/>
          <pc:sldMk cId="3324519687" sldId="293"/>
        </pc:sldMkLst>
        <pc:picChg chg="add mod">
          <ac:chgData name="Roberto Gallardo" userId="49a044883f185952" providerId="LiveId" clId="{C0D0C12C-97B9-4787-A55D-FCA6AD85EC0A}" dt="2023-03-09T00:39:24.229" v="106" actId="14100"/>
          <ac:picMkLst>
            <pc:docMk/>
            <pc:sldMk cId="3324519687" sldId="293"/>
            <ac:picMk id="7" creationId="{A40DA317-AA01-C7C0-D8B8-08CD6AC81960}"/>
          </ac:picMkLst>
        </pc:picChg>
      </pc:sldChg>
      <pc:sldChg chg="addSp modSp mod">
        <pc:chgData name="Roberto Gallardo" userId="49a044883f185952" providerId="LiveId" clId="{C0D0C12C-97B9-4787-A55D-FCA6AD85EC0A}" dt="2023-03-09T00:38:47.972" v="91" actId="1038"/>
        <pc:sldMkLst>
          <pc:docMk/>
          <pc:sldMk cId="3256182630" sldId="295"/>
        </pc:sldMkLst>
        <pc:picChg chg="add mod">
          <ac:chgData name="Roberto Gallardo" userId="49a044883f185952" providerId="LiveId" clId="{C0D0C12C-97B9-4787-A55D-FCA6AD85EC0A}" dt="2023-03-09T00:38:47.972" v="91" actId="1038"/>
          <ac:picMkLst>
            <pc:docMk/>
            <pc:sldMk cId="3256182630" sldId="295"/>
            <ac:picMk id="7" creationId="{6BA6580A-976E-E203-D35F-0E9C0D6746B8}"/>
          </ac:picMkLst>
        </pc:picChg>
      </pc:sldChg>
      <pc:sldChg chg="addSp modSp mod">
        <pc:chgData name="Roberto Gallardo" userId="49a044883f185952" providerId="LiveId" clId="{C0D0C12C-97B9-4787-A55D-FCA6AD85EC0A}" dt="2023-03-09T00:39:12.245" v="100" actId="1076"/>
        <pc:sldMkLst>
          <pc:docMk/>
          <pc:sldMk cId="4057156843" sldId="296"/>
        </pc:sldMkLst>
        <pc:picChg chg="add mod">
          <ac:chgData name="Roberto Gallardo" userId="49a044883f185952" providerId="LiveId" clId="{C0D0C12C-97B9-4787-A55D-FCA6AD85EC0A}" dt="2023-03-09T00:39:12.245" v="100" actId="1076"/>
          <ac:picMkLst>
            <pc:docMk/>
            <pc:sldMk cId="4057156843" sldId="296"/>
            <ac:picMk id="7" creationId="{87E27131-8E14-3635-5199-AC6DFE925EB2}"/>
          </ac:picMkLst>
        </pc:picChg>
      </pc:sldChg>
      <pc:sldChg chg="addSp modSp mod">
        <pc:chgData name="Roberto Gallardo" userId="49a044883f185952" providerId="LiveId" clId="{C0D0C12C-97B9-4787-A55D-FCA6AD85EC0A}" dt="2023-03-09T00:38:28.221" v="77" actId="1076"/>
        <pc:sldMkLst>
          <pc:docMk/>
          <pc:sldMk cId="2080110827" sldId="297"/>
        </pc:sldMkLst>
        <pc:picChg chg="add mod">
          <ac:chgData name="Roberto Gallardo" userId="49a044883f185952" providerId="LiveId" clId="{C0D0C12C-97B9-4787-A55D-FCA6AD85EC0A}" dt="2023-03-09T00:38:28.221" v="77" actId="1076"/>
          <ac:picMkLst>
            <pc:docMk/>
            <pc:sldMk cId="2080110827" sldId="297"/>
            <ac:picMk id="6" creationId="{3DC1A8A2-35FA-E5B8-63BE-302DAA67AB82}"/>
          </ac:picMkLst>
        </pc:picChg>
      </pc:sldChg>
      <pc:sldChg chg="addSp modSp mod">
        <pc:chgData name="Roberto Gallardo" userId="49a044883f185952" providerId="LiveId" clId="{C0D0C12C-97B9-4787-A55D-FCA6AD85EC0A}" dt="2023-03-09T00:38:11.997" v="70" actId="1076"/>
        <pc:sldMkLst>
          <pc:docMk/>
          <pc:sldMk cId="1532666867" sldId="298"/>
        </pc:sldMkLst>
        <pc:picChg chg="add mod">
          <ac:chgData name="Roberto Gallardo" userId="49a044883f185952" providerId="LiveId" clId="{C0D0C12C-97B9-4787-A55D-FCA6AD85EC0A}" dt="2023-03-09T00:38:11.997" v="70" actId="1076"/>
          <ac:picMkLst>
            <pc:docMk/>
            <pc:sldMk cId="1532666867" sldId="298"/>
            <ac:picMk id="6" creationId="{DFE76280-3FF6-0A4A-4963-A6ECE05EE0EF}"/>
          </ac:picMkLst>
        </pc:picChg>
      </pc:sldChg>
      <pc:sldChg chg="addSp modSp mod">
        <pc:chgData name="Roberto Gallardo" userId="49a044883f185952" providerId="LiveId" clId="{C0D0C12C-97B9-4787-A55D-FCA6AD85EC0A}" dt="2023-03-09T00:42:22.060" v="223" actId="1076"/>
        <pc:sldMkLst>
          <pc:docMk/>
          <pc:sldMk cId="1951376777" sldId="299"/>
        </pc:sldMkLst>
        <pc:picChg chg="add mod">
          <ac:chgData name="Roberto Gallardo" userId="49a044883f185952" providerId="LiveId" clId="{C0D0C12C-97B9-4787-A55D-FCA6AD85EC0A}" dt="2023-03-09T00:42:22.060" v="223" actId="1076"/>
          <ac:picMkLst>
            <pc:docMk/>
            <pc:sldMk cId="1951376777" sldId="299"/>
            <ac:picMk id="7" creationId="{22040AB0-9A9B-C9E3-B4DC-FADABA1BF651}"/>
          </ac:picMkLst>
        </pc:picChg>
      </pc:sldChg>
      <pc:sldChg chg="modSp mod">
        <pc:chgData name="Roberto Gallardo" userId="49a044883f185952" providerId="LiveId" clId="{C0D0C12C-97B9-4787-A55D-FCA6AD85EC0A}" dt="2023-02-25T19:05:31.668" v="51" actId="14100"/>
        <pc:sldMkLst>
          <pc:docMk/>
          <pc:sldMk cId="2366022307" sldId="306"/>
        </pc:sldMkLst>
        <pc:spChg chg="mod">
          <ac:chgData name="Roberto Gallardo" userId="49a044883f185952" providerId="LiveId" clId="{C0D0C12C-97B9-4787-A55D-FCA6AD85EC0A}" dt="2023-02-25T19:05:21.666" v="49" actId="1035"/>
          <ac:spMkLst>
            <pc:docMk/>
            <pc:sldMk cId="2366022307" sldId="306"/>
            <ac:spMk id="11" creationId="{09F5AE19-B4E3-7788-F25F-CDA80D596DAF}"/>
          </ac:spMkLst>
        </pc:spChg>
        <pc:grpChg chg="mod">
          <ac:chgData name="Roberto Gallardo" userId="49a044883f185952" providerId="LiveId" clId="{C0D0C12C-97B9-4787-A55D-FCA6AD85EC0A}" dt="2023-02-25T19:05:07.424" v="16" actId="1037"/>
          <ac:grpSpMkLst>
            <pc:docMk/>
            <pc:sldMk cId="2366022307" sldId="306"/>
            <ac:grpSpMk id="6" creationId="{4BC0EAD3-A621-359E-F822-1BC272A15D80}"/>
          </ac:grpSpMkLst>
        </pc:grpChg>
        <pc:cxnChg chg="mod">
          <ac:chgData name="Roberto Gallardo" userId="49a044883f185952" providerId="LiveId" clId="{C0D0C12C-97B9-4787-A55D-FCA6AD85EC0A}" dt="2023-02-25T19:05:13.449" v="30" actId="1035"/>
          <ac:cxnSpMkLst>
            <pc:docMk/>
            <pc:sldMk cId="2366022307" sldId="306"/>
            <ac:cxnSpMk id="27" creationId="{F0CF8142-8895-D0A8-A662-E40568742508}"/>
          </ac:cxnSpMkLst>
        </pc:cxnChg>
        <pc:cxnChg chg="mod">
          <ac:chgData name="Roberto Gallardo" userId="49a044883f185952" providerId="LiveId" clId="{C0D0C12C-97B9-4787-A55D-FCA6AD85EC0A}" dt="2023-02-25T19:05:31.668" v="51" actId="14100"/>
          <ac:cxnSpMkLst>
            <pc:docMk/>
            <pc:sldMk cId="2366022307" sldId="306"/>
            <ac:cxnSpMk id="28" creationId="{15C28C80-F0E1-159F-F103-CEA53436F6F9}"/>
          </ac:cxnSpMkLst>
        </pc:cxnChg>
        <pc:cxnChg chg="mod">
          <ac:chgData name="Roberto Gallardo" userId="49a044883f185952" providerId="LiveId" clId="{C0D0C12C-97B9-4787-A55D-FCA6AD85EC0A}" dt="2023-02-25T19:05:25.341" v="50" actId="14100"/>
          <ac:cxnSpMkLst>
            <pc:docMk/>
            <pc:sldMk cId="2366022307" sldId="306"/>
            <ac:cxnSpMk id="29" creationId="{783CFD35-8D28-EF95-B783-8C1E52BEC855}"/>
          </ac:cxnSpMkLst>
        </pc:cxnChg>
      </pc:sldChg>
      <pc:sldChg chg="add">
        <pc:chgData name="Roberto Gallardo" userId="49a044883f185952" providerId="LiveId" clId="{C0D0C12C-97B9-4787-A55D-FCA6AD85EC0A}" dt="2023-02-25T19:22:32.198" v="52"/>
        <pc:sldMkLst>
          <pc:docMk/>
          <pc:sldMk cId="1888925019" sldId="30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Henders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B6395D8-5E61-2468-A227-9B9EEC732EC0}"/>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F4C7CC0F-3A40-44C2-046E-96498DBC21BB}"/>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C07EDEDB-F2F4-25EC-55FC-4099111A26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FE76280-3FF6-0A4A-4963-A6ECE05EE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DC1A8A2-35FA-E5B8-63BE-302DAA67AB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D3FA3DC-57F6-7EB7-0F2E-7487F6B19CF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6BA6580A-976E-E203-D35F-0E9C0D6746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4790" y="1415052"/>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C5CFBE2-7FB7-C0F7-222E-415AB815CA3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87E27131-8E14-3635-5199-AC6DFE925E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105" y="1413510"/>
            <a:ext cx="6400670" cy="4526279"/>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D7A9EE0-630B-0F23-FABB-37B33FD4BCE3}"/>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A40DA317-AA01-C7C0-D8B8-08CD6AC819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936"/>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D3A4A8A-C9C0-E716-F169-53AE8883ABE4}"/>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C5CA2E83-36B4-2A32-061A-6036F7B438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2670"/>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433742AD-0BD5-157A-648C-27D05F4E44D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598C577-11CD-0D35-C58B-D99157666A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509" y="1417226"/>
            <a:ext cx="6400801" cy="4526373"/>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B0684279-3FB4-FC1A-DFC2-D300AF37A388}"/>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E98EFF0-4BC1-525A-B2B7-6ED5448081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1631"/>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D9965218-798C-8D8B-77D7-EF835782ABFF}"/>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F6861B2-6A87-60C7-68F0-F13686CEB2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CDEFD614-BAD2-F3FE-1CB0-F9DDA328F6C2}"/>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39CC6636-E741-DC69-74BA-F4C4C755CE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089" y="1409835"/>
            <a:ext cx="6397592" cy="4524103"/>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F2D0A87-CCD3-6908-5B86-BC73324D3AB3}"/>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3110E0A-C233-8C7B-5E9D-AB16631FBB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8833779F-A100-05D7-313A-BCC23DF7B66C}"/>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E9598DF-7F2B-9F1F-0E9D-CA38DEC974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6"/>
            <a:ext cx="6400801" cy="452637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89A80A7F-62F8-10C6-FB6E-AFF45568FB3C}"/>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5DB260E-9C0A-5E1A-812A-DA3C2D154E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878"/>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19A0D1F-42BC-A6CD-960C-21D0E8A89053}"/>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B9CAACF-E49E-A3B1-63E1-CCA6E7B5C5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DAAA76F8-4E69-9E46-514F-AA6A9CA54774}"/>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FB5EA63-0122-ADC2-B454-797CC409E4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A3996023-3F98-98BF-D37E-CEDA021987A5}"/>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22040AB0-9A9B-C9E3-B4DC-FADABA1BF6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FF52AF47-E672-B708-AEBC-0FBEFC6C06CF}"/>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F5B6A8B9-C296-096E-B180-4FA9E3924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05ED199-E1B5-10BE-3F32-CF5F90C68B19}"/>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90A5FA2E-14B6-0E0E-44B7-9541DF56BFC3}"/>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95D6577F-1DE9-A760-BA12-193286A915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087" y="1418461"/>
            <a:ext cx="6394514" cy="452192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CD81BD7F-2DB1-78EE-5037-11093A3A7764}"/>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B7ACF53-50EA-75E1-A8C3-5294FB4DB3C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D337C65-E010-87F0-CF96-37DBCF41134A}"/>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7869" y="2454610"/>
            <a:ext cx="1198148" cy="2033538"/>
            <a:chOff x="10485745" y="2848062"/>
            <a:chExt cx="1198148" cy="203353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174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480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848062"/>
              <a:ext cx="0" cy="5694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10036"/>
              <a:ext cx="0" cy="5715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181689"/>
            <a:ext cx="1198148" cy="1943352"/>
            <a:chOff x="2775759" y="2548658"/>
            <a:chExt cx="1198148" cy="19433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1134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486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48658"/>
              <a:ext cx="0" cy="5647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4005953"/>
              <a:ext cx="0" cy="4860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371DE9D8-357C-C1B3-5C28-5F7EF288A20D}"/>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616D8C1-2123-B2CF-D99E-B32AA9586A9C}"/>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1CB77BA-C1F8-D644-BADF-856508498701}"/>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1888925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2606C25E-38E6-37C0-9F1F-4AAF0C6EFE17}"/>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4F0A33D4-C26B-3E3B-4E69-D7887D71E2D1}"/>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D6C54995-3535-4E19-EEFF-EC93B53D184F}"/>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9F52A14A-00D9-C44B-2FAC-E6C2BA868FC1}"/>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AD2B18F-797B-1CB7-4A08-F706F1EADB3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07</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6</cp:revision>
  <dcterms:created xsi:type="dcterms:W3CDTF">2022-07-04T13:32:28Z</dcterms:created>
  <dcterms:modified xsi:type="dcterms:W3CDTF">2023-03-09T00:43:22Z</dcterms:modified>
</cp:coreProperties>
</file>